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webextensions/webextension1.xml" ContentType="application/vnd.ms-office.webextension+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webextensions/webextension2.xml" ContentType="application/vnd.ms-office.webextension+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9"/>
  </p:notesMasterIdLst>
  <p:handoutMasterIdLst>
    <p:handoutMasterId r:id="rId220"/>
  </p:handoutMasterIdLst>
  <p:sldIdLst>
    <p:sldId id="2147469997" r:id="rId16"/>
    <p:sldId id="2134805319" r:id="rId17"/>
    <p:sldId id="361" r:id="rId18"/>
    <p:sldId id="565" r:id="rId19"/>
    <p:sldId id="331" r:id="rId20"/>
    <p:sldId id="2147469893" r:id="rId21"/>
    <p:sldId id="2076137603" r:id="rId22"/>
    <p:sldId id="2147469889" r:id="rId23"/>
    <p:sldId id="2147469890" r:id="rId24"/>
    <p:sldId id="2147469891" r:id="rId25"/>
    <p:sldId id="2134805339" r:id="rId26"/>
    <p:sldId id="2134805401" r:id="rId27"/>
    <p:sldId id="2134805361" r:id="rId28"/>
    <p:sldId id="2147469912" r:id="rId29"/>
    <p:sldId id="2147469922" r:id="rId30"/>
    <p:sldId id="2134805395" r:id="rId31"/>
    <p:sldId id="2147469916" r:id="rId32"/>
    <p:sldId id="2147469913" r:id="rId33"/>
    <p:sldId id="2147469914" r:id="rId34"/>
    <p:sldId id="2147469915" r:id="rId35"/>
    <p:sldId id="2147469981" r:id="rId36"/>
    <p:sldId id="2147469917" r:id="rId37"/>
    <p:sldId id="2147469918" r:id="rId38"/>
    <p:sldId id="2134805351" r:id="rId39"/>
    <p:sldId id="2134805352" r:id="rId40"/>
    <p:sldId id="2147469919" r:id="rId41"/>
    <p:sldId id="2134805356" r:id="rId42"/>
    <p:sldId id="2147469920" r:id="rId43"/>
    <p:sldId id="2147469921" r:id="rId44"/>
    <p:sldId id="2134805357" r:id="rId45"/>
    <p:sldId id="2361" r:id="rId46"/>
    <p:sldId id="2134805399" r:id="rId47"/>
    <p:sldId id="2134805391" r:id="rId48"/>
    <p:sldId id="2134805336" r:id="rId49"/>
    <p:sldId id="2134805397" r:id="rId50"/>
    <p:sldId id="2134805398" r:id="rId51"/>
    <p:sldId id="2147469902" r:id="rId52"/>
    <p:sldId id="2147469900" r:id="rId53"/>
    <p:sldId id="2147469903" r:id="rId54"/>
    <p:sldId id="2147469974" r:id="rId55"/>
    <p:sldId id="2147469925" r:id="rId56"/>
    <p:sldId id="2134805392" r:id="rId57"/>
    <p:sldId id="2147469924" r:id="rId58"/>
    <p:sldId id="452" r:id="rId59"/>
    <p:sldId id="2134805322" r:id="rId60"/>
    <p:sldId id="2357" r:id="rId61"/>
    <p:sldId id="2358" r:id="rId62"/>
    <p:sldId id="2147469928" r:id="rId63"/>
    <p:sldId id="2147469929" r:id="rId64"/>
    <p:sldId id="2134805371" r:id="rId65"/>
    <p:sldId id="2134805372" r:id="rId66"/>
    <p:sldId id="2134805373" r:id="rId67"/>
    <p:sldId id="2134805374" r:id="rId68"/>
    <p:sldId id="2134805375" r:id="rId69"/>
    <p:sldId id="2134805376" r:id="rId70"/>
    <p:sldId id="2134805377" r:id="rId71"/>
    <p:sldId id="2134805378" r:id="rId72"/>
    <p:sldId id="2147469933" r:id="rId73"/>
    <p:sldId id="2147469935" r:id="rId74"/>
    <p:sldId id="2147469938" r:id="rId75"/>
    <p:sldId id="376" r:id="rId76"/>
    <p:sldId id="2147469926" r:id="rId77"/>
    <p:sldId id="2134805321" r:id="rId78"/>
    <p:sldId id="2147469944" r:id="rId79"/>
    <p:sldId id="2147469939" r:id="rId80"/>
    <p:sldId id="2147469940" r:id="rId81"/>
    <p:sldId id="2147469941" r:id="rId82"/>
    <p:sldId id="2147469942" r:id="rId83"/>
    <p:sldId id="2147469943" r:id="rId84"/>
    <p:sldId id="2147469955" r:id="rId85"/>
    <p:sldId id="2147469896" r:id="rId86"/>
    <p:sldId id="2147469980" r:id="rId87"/>
    <p:sldId id="2147469961" r:id="rId88"/>
    <p:sldId id="2147469962" r:id="rId89"/>
    <p:sldId id="2147469963" r:id="rId90"/>
    <p:sldId id="2980" r:id="rId91"/>
    <p:sldId id="8747" r:id="rId92"/>
    <p:sldId id="8748" r:id="rId93"/>
    <p:sldId id="2147469972" r:id="rId94"/>
    <p:sldId id="2134805340" r:id="rId95"/>
    <p:sldId id="2147469898" r:id="rId96"/>
    <p:sldId id="2134805387" r:id="rId97"/>
    <p:sldId id="2134805380" r:id="rId98"/>
    <p:sldId id="2147469968" r:id="rId99"/>
    <p:sldId id="2147469975" r:id="rId100"/>
    <p:sldId id="2147469969" r:id="rId101"/>
    <p:sldId id="2147469978" r:id="rId102"/>
    <p:sldId id="2147469989" r:id="rId103"/>
    <p:sldId id="2147469977" r:id="rId104"/>
    <p:sldId id="2147469979" r:id="rId105"/>
    <p:sldId id="2147469983" r:id="rId106"/>
    <p:sldId id="2147469984" r:id="rId107"/>
    <p:sldId id="2147469985" r:id="rId108"/>
    <p:sldId id="2147469988" r:id="rId109"/>
    <p:sldId id="2147469986" r:id="rId110"/>
    <p:sldId id="2147469987" r:id="rId111"/>
    <p:sldId id="2147469990" r:id="rId112"/>
    <p:sldId id="2147469991" r:id="rId113"/>
    <p:sldId id="2147469982" r:id="rId114"/>
    <p:sldId id="2147469894" r:id="rId115"/>
    <p:sldId id="2147469904" r:id="rId116"/>
    <p:sldId id="2147469957" r:id="rId117"/>
    <p:sldId id="2147469956" r:id="rId118"/>
    <p:sldId id="2147469958" r:id="rId119"/>
    <p:sldId id="2147470004" r:id="rId120"/>
    <p:sldId id="2147470005" r:id="rId121"/>
    <p:sldId id="2147470007" r:id="rId122"/>
    <p:sldId id="2147470008" r:id="rId123"/>
    <p:sldId id="2147470009" r:id="rId124"/>
    <p:sldId id="2147470010" r:id="rId125"/>
    <p:sldId id="2147470011" r:id="rId126"/>
    <p:sldId id="2147470012" r:id="rId127"/>
    <p:sldId id="2147470013" r:id="rId128"/>
    <p:sldId id="2134805471" r:id="rId129"/>
    <p:sldId id="2147470006" r:id="rId130"/>
    <p:sldId id="2147470015" r:id="rId131"/>
    <p:sldId id="2134805407" r:id="rId132"/>
    <p:sldId id="2134805404" r:id="rId133"/>
    <p:sldId id="2134805408" r:id="rId134"/>
    <p:sldId id="2134805470" r:id="rId135"/>
    <p:sldId id="2134805493" r:id="rId136"/>
    <p:sldId id="2147469998" r:id="rId137"/>
    <p:sldId id="2134805427" r:id="rId138"/>
    <p:sldId id="2134805428" r:id="rId139"/>
    <p:sldId id="2134805429" r:id="rId140"/>
    <p:sldId id="2147470002" r:id="rId141"/>
    <p:sldId id="2134805500" r:id="rId142"/>
    <p:sldId id="2134805501" r:id="rId143"/>
    <p:sldId id="2134805440" r:id="rId144"/>
    <p:sldId id="2134805439" r:id="rId145"/>
    <p:sldId id="2134805441" r:id="rId146"/>
    <p:sldId id="2134805442" r:id="rId147"/>
    <p:sldId id="2134805434" r:id="rId148"/>
    <p:sldId id="2134805445" r:id="rId149"/>
    <p:sldId id="2134805473" r:id="rId150"/>
    <p:sldId id="2134805475" r:id="rId151"/>
    <p:sldId id="2134805477" r:id="rId152"/>
    <p:sldId id="2134805436" r:id="rId153"/>
    <p:sldId id="2134805478" r:id="rId154"/>
    <p:sldId id="2134805479" r:id="rId155"/>
    <p:sldId id="2134805438" r:id="rId156"/>
    <p:sldId id="2134805481" r:id="rId157"/>
    <p:sldId id="2134805455" r:id="rId158"/>
    <p:sldId id="2134805485" r:id="rId159"/>
    <p:sldId id="2134805486" r:id="rId160"/>
    <p:sldId id="2134805487" r:id="rId161"/>
    <p:sldId id="2134805488" r:id="rId162"/>
    <p:sldId id="2134805457" r:id="rId163"/>
    <p:sldId id="2134805458" r:id="rId164"/>
    <p:sldId id="2147470016" r:id="rId165"/>
    <p:sldId id="2147470017" r:id="rId166"/>
    <p:sldId id="2134805454" r:id="rId167"/>
    <p:sldId id="2147469945" r:id="rId168"/>
    <p:sldId id="2147469947" r:id="rId169"/>
    <p:sldId id="8706" r:id="rId170"/>
    <p:sldId id="8685" r:id="rId171"/>
    <p:sldId id="8689" r:id="rId172"/>
    <p:sldId id="8692" r:id="rId173"/>
    <p:sldId id="8693" r:id="rId174"/>
    <p:sldId id="8686" r:id="rId175"/>
    <p:sldId id="8694" r:id="rId176"/>
    <p:sldId id="8710" r:id="rId177"/>
    <p:sldId id="2134805393" r:id="rId178"/>
    <p:sldId id="8696" r:id="rId179"/>
    <p:sldId id="2147469948" r:id="rId180"/>
    <p:sldId id="2134805400" r:id="rId181"/>
    <p:sldId id="8697" r:id="rId182"/>
    <p:sldId id="10056" r:id="rId183"/>
    <p:sldId id="10074" r:id="rId184"/>
    <p:sldId id="2134805394" r:id="rId185"/>
    <p:sldId id="10057" r:id="rId186"/>
    <p:sldId id="10060" r:id="rId187"/>
    <p:sldId id="2147469949" r:id="rId188"/>
    <p:sldId id="2147469950" r:id="rId189"/>
    <p:sldId id="10014" r:id="rId190"/>
    <p:sldId id="10073" r:id="rId191"/>
    <p:sldId id="2147469951" r:id="rId192"/>
    <p:sldId id="8688" r:id="rId193"/>
    <p:sldId id="2134805396" r:id="rId194"/>
    <p:sldId id="2147470003" r:id="rId195"/>
    <p:sldId id="2147469895" r:id="rId196"/>
    <p:sldId id="2147470014" r:id="rId197"/>
    <p:sldId id="2134805414" r:id="rId198"/>
    <p:sldId id="2134805415" r:id="rId199"/>
    <p:sldId id="2134805419" r:id="rId200"/>
    <p:sldId id="2134805416" r:id="rId201"/>
    <p:sldId id="2134805417" r:id="rId202"/>
    <p:sldId id="2134805418" r:id="rId203"/>
    <p:sldId id="2134805420" r:id="rId204"/>
    <p:sldId id="2134805421" r:id="rId205"/>
    <p:sldId id="2147469999" r:id="rId206"/>
    <p:sldId id="2134805496" r:id="rId207"/>
    <p:sldId id="2134805497" r:id="rId208"/>
    <p:sldId id="2134805498" r:id="rId209"/>
    <p:sldId id="2134805499" r:id="rId210"/>
    <p:sldId id="2134805495" r:id="rId211"/>
    <p:sldId id="2147470000" r:id="rId212"/>
    <p:sldId id="2147470001" r:id="rId213"/>
    <p:sldId id="2134805437" r:id="rId214"/>
    <p:sldId id="2134805431" r:id="rId215"/>
    <p:sldId id="2134805482" r:id="rId216"/>
    <p:sldId id="2134805483" r:id="rId217"/>
    <p:sldId id="2134805484" r:id="rId21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34805319"/>
            <p14:sldId id="361"/>
            <p14:sldId id="565"/>
          </p14:sldIdLst>
        </p14:section>
        <p14:section name="Agenda" id="{EC196F7E-C66C-4E6D-A529-F29F08460426}">
          <p14:sldIdLst>
            <p14:sldId id="331"/>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57"/>
            <p14:sldId id="2147469956"/>
            <p14:sldId id="2147469958"/>
            <p14:sldId id="2147470004"/>
            <p14:sldId id="2147470005"/>
            <p14:sldId id="2147470007"/>
            <p14:sldId id="2147470008"/>
            <p14:sldId id="2147470009"/>
            <p14:sldId id="2147470010"/>
            <p14:sldId id="2147470011"/>
            <p14:sldId id="2147470012"/>
            <p14:sldId id="2147470013"/>
            <p14:sldId id="2134805471"/>
            <p14:sldId id="2147470006"/>
            <p14:sldId id="2147470015"/>
            <p14:sldId id="2134805407"/>
            <p14:sldId id="2134805404"/>
            <p14:sldId id="2134805408"/>
            <p14:sldId id="2134805470"/>
            <p14:sldId id="2134805493"/>
            <p14:sldId id="2147469998"/>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5"/>
            <p14:sldId id="2134805485"/>
            <p14:sldId id="2134805486"/>
            <p14:sldId id="2134805487"/>
            <p14:sldId id="2134805488"/>
            <p14:sldId id="2134805457"/>
            <p14:sldId id="2134805458"/>
            <p14:sldId id="2147470016"/>
            <p14:sldId id="2147470017"/>
            <p14:sldId id="2134805454"/>
            <p14:sldId id="214746994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70003"/>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B4B2FADB-1391-4175-AFC9-02E3A99082C3}" v="7" dt="2022-03-09T17:29:31.68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627" autoAdjust="0"/>
  </p:normalViewPr>
  <p:slideViewPr>
    <p:cSldViewPr snapToGrid="0">
      <p:cViewPr varScale="1">
        <p:scale>
          <a:sx n="83" d="100"/>
          <a:sy n="83" d="100"/>
        </p:scale>
        <p:origin x="1212"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microsoft.com/office/2016/11/relationships/changesInfo" Target="changesInfos/changesInfo1.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microsoft.com/office/2015/10/relationships/revisionInfo" Target="revisionInfo.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commentAuthors" Target="commentAuthors.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presProps" Target="presProp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viewProps" Target="viewProp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theme" Target="theme/theme1.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svg"/><Relationship Id="rId1" Type="http://schemas.openxmlformats.org/officeDocument/2006/relationships/image" Target="../media/image144.png"/><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8/2022 12:1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8/2022 12:1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eatest value of a picture is when it forces us to notice what we never expected to see.” – John W. Tukey</a:t>
            </a:r>
          </a:p>
          <a:p>
            <a:endParaRPr lang="en-US" dirty="0"/>
          </a:p>
          <a:p>
            <a:r>
              <a:rPr lang="en-US" dirty="0"/>
              <a:t>In Tukey’s book – Exploratory Data Analysis – he mentioned to not just rely on numerical summaries of your data. Always try to visualize your data! If you don’t, you will miss features of that data and it will go unnotic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710087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forms.office.com/r/XbVddhYM6E</a:t>
            </a:r>
          </a:p>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7023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e Charts are good for parts of a whole – but not comparison. So, the real answer is – it depends!</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14686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87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different visuals for location. It depends on what you are trying to communicate – parts of a whole (United States is the majority), mapping, bar chart, …</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38440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26403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86436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55</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6</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57</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58</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59</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60</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62</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3</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4</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5</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6</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0</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75</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76</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77</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78</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3</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2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8/2022 12:1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22.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2.xml"/><Relationship Id="rId4" Type="http://schemas.openxmlformats.org/officeDocument/2006/relationships/slide" Target="../slides/slide54.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4.xml"/><Relationship Id="rId4" Type="http://schemas.openxmlformats.org/officeDocument/2006/relationships/slide" Target="../slides/slide22.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4.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9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2.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8.xml"/><Relationship Id="rId4" Type="http://schemas.openxmlformats.org/officeDocument/2006/relationships/slide" Target="../slides/slide22.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9/18/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9/18/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9/18/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9/18/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9/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9/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9/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9/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9/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9/18/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99982" y="466302"/>
            <a:ext cx="11238030" cy="585994"/>
          </a:xfrm>
          <a:noFill/>
        </p:spPr>
        <p:txBody>
          <a:bodyPr rtlCol="0"/>
          <a:lstStyle>
            <a:lvl1pPr marL="0" indent="0" algn="ctr" defTabSz="-18865642" rtl="0" eaLnBrk="1" fontAlgn="base" hangingPunct="1">
              <a:spcBef>
                <a:spcPct val="0"/>
              </a:spcBef>
              <a:spcAft>
                <a:spcPct val="0"/>
              </a:spcAft>
              <a:defRPr lang="en-US" sz="3808" b="1" dirty="0">
                <a:solidFill>
                  <a:srgbClr val="FF00FE"/>
                </a:solidFill>
                <a:latin typeface="Calibri"/>
                <a:ea typeface="+mj-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621745" y="1398905"/>
            <a:ext cx="11191399" cy="1925399"/>
          </a:xfrm>
        </p:spPr>
        <p:txBody>
          <a:bodyPr rtlCol="0"/>
          <a:lstStyle>
            <a:lvl1pPr>
              <a:buClrTx/>
              <a:buFont typeface="Wingdings" pitchFamily="2" charset="2"/>
              <a:buChar char="§"/>
              <a:defRPr sz="2720" b="1">
                <a:latin typeface="Calibri" pitchFamily="34" charset="0"/>
              </a:defRPr>
            </a:lvl1pPr>
            <a:lvl2pPr>
              <a:buClrTx/>
              <a:buFont typeface="Wingdings" pitchFamily="2" charset="2"/>
              <a:buChar char="o"/>
              <a:defRPr sz="2448" b="0">
                <a:latin typeface="Calibri Light" pitchFamily="34" charset="0"/>
              </a:defRPr>
            </a:lvl2pPr>
            <a:lvl3pPr>
              <a:buClrTx/>
              <a:buFont typeface="Wingdings" pitchFamily="2" charset="2"/>
              <a:buChar char="o"/>
              <a:defRPr sz="2176" b="0">
                <a:latin typeface="Calibri Light" pitchFamily="34" charset="0"/>
              </a:defRPr>
            </a:lvl3pPr>
            <a:lvl4pPr>
              <a:buClrTx/>
              <a:buFont typeface="Wingdings" pitchFamily="2" charset="2"/>
              <a:buChar char="o"/>
              <a:defRPr sz="1904" b="0">
                <a:latin typeface="Calibri Light" pitchFamily="34" charset="0"/>
              </a:defRPr>
            </a:lvl4pPr>
            <a:lvl5pPr>
              <a:buClrTx/>
              <a:buFont typeface="Wingdings" pitchFamily="2" charset="2"/>
              <a:buChar char="o"/>
              <a:defRPr sz="1632"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934949"/>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 id="2147485327"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18/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2.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5.xml"/><Relationship Id="rId4" Type="http://schemas.openxmlformats.org/officeDocument/2006/relationships/image" Target="../media/image162.png"/></Relationships>
</file>

<file path=ppt/slides/_rels/slide10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hyperlink" Target="https://www.nytimes.com/interactive/projects/london2012/results"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83.png"/><Relationship Id="rId7" Type="http://schemas.openxmlformats.org/officeDocument/2006/relationships/image" Target="../media/image86.wmf"/><Relationship Id="rId2" Type="http://schemas.openxmlformats.org/officeDocument/2006/relationships/notesSlide" Target="../notesSlides/notesSlide7.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53.xml"/><Relationship Id="rId1" Type="http://schemas.openxmlformats.org/officeDocument/2006/relationships/slideLayout" Target="../slideLayouts/slideLayout75.xml"/><Relationship Id="rId4" Type="http://schemas.openxmlformats.org/officeDocument/2006/relationships/image" Target="../media/image168.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3" Type="http://schemas.microsoft.com/office/2011/relationships/webextension" Target="../webextensions/webextension2.xml"/><Relationship Id="rId2" Type="http://schemas.openxmlformats.org/officeDocument/2006/relationships/notesSlide" Target="../notesSlides/notesSlide55.xml"/><Relationship Id="rId1" Type="http://schemas.openxmlformats.org/officeDocument/2006/relationships/slideLayout" Target="../slideLayouts/slideLayout75.xml"/><Relationship Id="rId4" Type="http://schemas.openxmlformats.org/officeDocument/2006/relationships/image" Target="../media/image169.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20.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0.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80.gif"/><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40.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3.png"/><Relationship Id="rId1" Type="http://schemas.openxmlformats.org/officeDocument/2006/relationships/slideLayout" Target="../slideLayouts/slideLayout75.xml"/><Relationship Id="rId4" Type="http://schemas.openxmlformats.org/officeDocument/2006/relationships/image" Target="../media/image194.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microsoft.com/office/2007/relationships/hdphoto" Target="../media/hdphoto1.wdp"/><Relationship Id="rId4" Type="http://schemas.openxmlformats.org/officeDocument/2006/relationships/image" Target="../media/image92.png"/><Relationship Id="rId9" Type="http://schemas.openxmlformats.org/officeDocument/2006/relationships/image" Target="../media/image97.png"/></Relationships>
</file>

<file path=ppt/slides/_rels/slide150.xml.rels><?xml version="1.0" encoding="UTF-8" standalone="yes"?>
<Relationships xmlns="http://schemas.openxmlformats.org/package/2006/relationships"><Relationship Id="rId2" Type="http://schemas.openxmlformats.org/officeDocument/2006/relationships/image" Target="../media/image195.gif"/><Relationship Id="rId1" Type="http://schemas.openxmlformats.org/officeDocument/2006/relationships/slideLayout" Target="../slideLayouts/slideLayout75.xml"/></Relationships>
</file>

<file path=ppt/slides/_rels/slide151.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3.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5.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59.xml"/><Relationship Id="rId1" Type="http://schemas.openxmlformats.org/officeDocument/2006/relationships/slideLayout" Target="../slideLayouts/slideLayout53.xml"/></Relationships>
</file>

<file path=ppt/slides/_rels/slide156.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60.xml"/><Relationship Id="rId1" Type="http://schemas.openxmlformats.org/officeDocument/2006/relationships/slideLayout" Target="../slideLayouts/slideLayout79.xml"/><Relationship Id="rId4" Type="http://schemas.openxmlformats.org/officeDocument/2006/relationships/image" Target="../media/image199.png"/></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0.jpeg"/></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1.jpeg"/></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2.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64.xml"/><Relationship Id="rId1" Type="http://schemas.openxmlformats.org/officeDocument/2006/relationships/slideLayout" Target="../slideLayouts/slideLayout79.xml"/><Relationship Id="rId4" Type="http://schemas.openxmlformats.org/officeDocument/2006/relationships/image" Target="../media/image199.png"/></Relationships>
</file>

<file path=ppt/slides/_rels/slide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5.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62.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66.xml"/><Relationship Id="rId1" Type="http://schemas.openxmlformats.org/officeDocument/2006/relationships/slideLayout" Target="../slideLayouts/slideLayout53.xml"/></Relationships>
</file>

<file path=ppt/slides/_rels/slide163.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8.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7.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notesSlide" Target="../notesSlides/notesSlide71.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68.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69.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72.xml"/><Relationship Id="rId1" Type="http://schemas.openxmlformats.org/officeDocument/2006/relationships/slideLayout" Target="../slideLayouts/slideLayout53.xml"/></Relationships>
</file>

<file path=ppt/slides/_rels/slide171.xml.rels><?xml version="1.0" encoding="UTF-8" standalone="yes"?>
<Relationships xmlns="http://schemas.openxmlformats.org/package/2006/relationships"><Relationship Id="rId3" Type="http://schemas.openxmlformats.org/officeDocument/2006/relationships/image" Target="../media/image205.jpeg"/><Relationship Id="rId2" Type="http://schemas.openxmlformats.org/officeDocument/2006/relationships/image" Target="../media/image204.jpeg"/><Relationship Id="rId1" Type="http://schemas.openxmlformats.org/officeDocument/2006/relationships/slideLayout" Target="../slideLayouts/slideLayout57.xml"/></Relationships>
</file>

<file path=ppt/slides/_rels/slide172.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5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4.xml.rels><?xml version="1.0" encoding="UTF-8" standalone="yes"?>
<Relationships xmlns="http://schemas.openxmlformats.org/package/2006/relationships"><Relationship Id="rId2" Type="http://schemas.openxmlformats.org/officeDocument/2006/relationships/image" Target="../media/image208.jpeg"/><Relationship Id="rId1" Type="http://schemas.openxmlformats.org/officeDocument/2006/relationships/slideLayout" Target="../slideLayouts/slideLayout55.xml"/></Relationships>
</file>

<file path=ppt/slides/_rels/slide175.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3.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74.xml"/><Relationship Id="rId1" Type="http://schemas.openxmlformats.org/officeDocument/2006/relationships/slideLayout" Target="../slideLayouts/slideLayout57.xml"/></Relationships>
</file>

<file path=ppt/slides/_rels/slide17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75.xml"/><Relationship Id="rId1" Type="http://schemas.openxmlformats.org/officeDocument/2006/relationships/slideLayout" Target="../slideLayouts/slideLayout57.xml"/></Relationships>
</file>

<file path=ppt/slides/_rels/slide17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76.xml"/><Relationship Id="rId1" Type="http://schemas.openxmlformats.org/officeDocument/2006/relationships/slideLayout" Target="../slideLayouts/slideLayout74.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181.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7.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12.png"/></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78.xml"/><Relationship Id="rId1" Type="http://schemas.openxmlformats.org/officeDocument/2006/relationships/slideLayout" Target="../slideLayouts/slideLayout75.xml"/><Relationship Id="rId4" Type="http://schemas.openxmlformats.org/officeDocument/2006/relationships/image" Target="../media/image214.png"/></Relationships>
</file>

<file path=ppt/slides/_rels/slide184.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5.xml"/></Relationships>
</file>

<file path=ppt/slides/_rels/slide185.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5.xml"/></Relationships>
</file>

<file path=ppt/slides/_rels/slide186.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5.xml"/></Relationships>
</file>

<file path=ppt/slides/_rels/slide187.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88.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96.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97.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98.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99.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201.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75.xml"/></Relationships>
</file>

<file path=ppt/slides/_rels/slide202.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75.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4.bin"/><Relationship Id="rId1" Type="http://schemas.openxmlformats.org/officeDocument/2006/relationships/slideLayout" Target="../slideLayouts/slideLayout75.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6.svg"/><Relationship Id="rId3" Type="http://schemas.openxmlformats.org/officeDocument/2006/relationships/image" Target="../media/image104.svg"/><Relationship Id="rId7" Type="http://schemas.openxmlformats.org/officeDocument/2006/relationships/image" Target="../media/image113.svg"/><Relationship Id="rId12" Type="http://schemas.openxmlformats.org/officeDocument/2006/relationships/image" Target="../media/image105.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7.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07.png"/><Relationship Id="rId9" Type="http://schemas.openxmlformats.org/officeDocument/2006/relationships/image" Target="../media/image115.sv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Layout" Target="../slideLayouts/slideLayout74.xml"/><Relationship Id="rId4" Type="http://schemas.openxmlformats.org/officeDocument/2006/relationships/image" Target="../media/image119.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2.png"/><Relationship Id="rId4" Type="http://schemas.openxmlformats.org/officeDocument/2006/relationships/image" Target="../media/image81.emf"/></Relationships>
</file>

<file path=ppt/slides/_rels/slide40.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notesSlide" Target="../notesSlides/notesSlide27.xml"/><Relationship Id="rId16" Type="http://schemas.openxmlformats.org/officeDocument/2006/relationships/image" Target="../media/image133.svg"/><Relationship Id="rId1" Type="http://schemas.openxmlformats.org/officeDocument/2006/relationships/slideLayout" Target="../slideLayouts/slideLayout536.xml"/><Relationship Id="rId6" Type="http://schemas.openxmlformats.org/officeDocument/2006/relationships/image" Target="../media/image123.sv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21.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3.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2.png"/><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4.pn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2.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Power Platform Conference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Visual Encoding</a:t>
            </a:r>
          </a:p>
        </p:txBody>
      </p:sp>
      <p:sp>
        <p:nvSpPr>
          <p:cNvPr id="4" name="TextBox 3">
            <a:extLst>
              <a:ext uri="{FF2B5EF4-FFF2-40B4-BE49-F238E27FC236}">
                <a16:creationId xmlns:a16="http://schemas.microsoft.com/office/drawing/2014/main" id="{D3245058-7515-853D-4580-09A59143DED8}"/>
              </a:ext>
            </a:extLst>
          </p:cNvPr>
          <p:cNvSpPr txBox="1"/>
          <p:nvPr/>
        </p:nvSpPr>
        <p:spPr>
          <a:xfrm>
            <a:off x="599982" y="1404257"/>
            <a:ext cx="10393486" cy="307777"/>
          </a:xfrm>
          <a:prstGeom prst="rect">
            <a:avLst/>
          </a:prstGeom>
          <a:noFill/>
        </p:spPr>
        <p:txBody>
          <a:bodyPr wrap="none" lIns="0" tIns="0" rIns="0" bIns="0" rtlCol="0">
            <a:spAutoFit/>
          </a:bodyPr>
          <a:lstStyle/>
          <a:p>
            <a:pPr algn="l"/>
            <a:r>
              <a:rPr lang="en-US" sz="2000" dirty="0"/>
              <a:t>For visualizations, it’s the idea of mapping data onto attributes of an object. Typically shapes.</a:t>
            </a:r>
          </a:p>
        </p:txBody>
      </p:sp>
      <p:sp>
        <p:nvSpPr>
          <p:cNvPr id="5" name="TextBox 4">
            <a:extLst>
              <a:ext uri="{FF2B5EF4-FFF2-40B4-BE49-F238E27FC236}">
                <a16:creationId xmlns:a16="http://schemas.microsoft.com/office/drawing/2014/main" id="{A952AC9B-F0D3-E693-7054-6F0A32C0BA58}"/>
              </a:ext>
            </a:extLst>
          </p:cNvPr>
          <p:cNvSpPr txBox="1"/>
          <p:nvPr/>
        </p:nvSpPr>
        <p:spPr>
          <a:xfrm>
            <a:off x="2454874" y="2084962"/>
            <a:ext cx="479298" cy="307777"/>
          </a:xfrm>
          <a:prstGeom prst="rect">
            <a:avLst/>
          </a:prstGeom>
          <a:noFill/>
        </p:spPr>
        <p:txBody>
          <a:bodyPr wrap="none" lIns="0" tIns="0" rIns="0" bIns="0" rtlCol="0">
            <a:spAutoFit/>
          </a:bodyPr>
          <a:lstStyle/>
          <a:p>
            <a:pPr algn="l"/>
            <a:r>
              <a:rPr lang="en-US" sz="2000" b="1" dirty="0"/>
              <a:t>Size</a:t>
            </a:r>
          </a:p>
        </p:txBody>
      </p:sp>
      <p:sp>
        <p:nvSpPr>
          <p:cNvPr id="6" name="TextBox 5">
            <a:extLst>
              <a:ext uri="{FF2B5EF4-FFF2-40B4-BE49-F238E27FC236}">
                <a16:creationId xmlns:a16="http://schemas.microsoft.com/office/drawing/2014/main" id="{5CFFAE8C-CC5D-3C37-59F7-31EDDFE76B2F}"/>
              </a:ext>
            </a:extLst>
          </p:cNvPr>
          <p:cNvSpPr txBox="1"/>
          <p:nvPr/>
        </p:nvSpPr>
        <p:spPr>
          <a:xfrm>
            <a:off x="2313073" y="4071909"/>
            <a:ext cx="762901" cy="307777"/>
          </a:xfrm>
          <a:prstGeom prst="rect">
            <a:avLst/>
          </a:prstGeom>
          <a:noFill/>
        </p:spPr>
        <p:txBody>
          <a:bodyPr wrap="none" lIns="0" tIns="0" rIns="0" bIns="0" rtlCol="0">
            <a:spAutoFit/>
          </a:bodyPr>
          <a:lstStyle/>
          <a:p>
            <a:pPr algn="l"/>
            <a:r>
              <a:rPr lang="en-US" sz="2000" b="1" dirty="0"/>
              <a:t>Colors</a:t>
            </a:r>
          </a:p>
        </p:txBody>
      </p:sp>
      <p:sp>
        <p:nvSpPr>
          <p:cNvPr id="7" name="TextBox 6">
            <a:extLst>
              <a:ext uri="{FF2B5EF4-FFF2-40B4-BE49-F238E27FC236}">
                <a16:creationId xmlns:a16="http://schemas.microsoft.com/office/drawing/2014/main" id="{2B05F6F9-1C9A-86B4-F571-F54DD9ABD17C}"/>
              </a:ext>
            </a:extLst>
          </p:cNvPr>
          <p:cNvSpPr txBox="1"/>
          <p:nvPr/>
        </p:nvSpPr>
        <p:spPr>
          <a:xfrm>
            <a:off x="2414510" y="5673143"/>
            <a:ext cx="560025" cy="307777"/>
          </a:xfrm>
          <a:prstGeom prst="rect">
            <a:avLst/>
          </a:prstGeom>
          <a:noFill/>
        </p:spPr>
        <p:txBody>
          <a:bodyPr wrap="none" lIns="0" tIns="0" rIns="0" bIns="0" rtlCol="0">
            <a:spAutoFit/>
          </a:bodyPr>
          <a:lstStyle/>
          <a:p>
            <a:pPr algn="l"/>
            <a:r>
              <a:rPr lang="en-US" sz="2000" b="1" dirty="0"/>
              <a:t>Area</a:t>
            </a:r>
          </a:p>
        </p:txBody>
      </p:sp>
      <p:pic>
        <p:nvPicPr>
          <p:cNvPr id="9" name="Picture 8">
            <a:extLst>
              <a:ext uri="{FF2B5EF4-FFF2-40B4-BE49-F238E27FC236}">
                <a16:creationId xmlns:a16="http://schemas.microsoft.com/office/drawing/2014/main" id="{FA672D60-10ED-E068-FC12-E8A0CFD52B85}"/>
              </a:ext>
            </a:extLst>
          </p:cNvPr>
          <p:cNvPicPr>
            <a:picLocks noChangeAspect="1"/>
          </p:cNvPicPr>
          <p:nvPr/>
        </p:nvPicPr>
        <p:blipFill>
          <a:blip r:embed="rId2"/>
          <a:stretch>
            <a:fillRect/>
          </a:stretch>
        </p:blipFill>
        <p:spPr>
          <a:xfrm>
            <a:off x="4385620" y="3699642"/>
            <a:ext cx="6047619" cy="1380952"/>
          </a:xfrm>
          <a:prstGeom prst="rect">
            <a:avLst/>
          </a:prstGeom>
        </p:spPr>
      </p:pic>
      <p:pic>
        <p:nvPicPr>
          <p:cNvPr id="11" name="Picture 10">
            <a:extLst>
              <a:ext uri="{FF2B5EF4-FFF2-40B4-BE49-F238E27FC236}">
                <a16:creationId xmlns:a16="http://schemas.microsoft.com/office/drawing/2014/main" id="{F819E8F6-4F55-21F7-9B84-30A385EB97C6}"/>
              </a:ext>
            </a:extLst>
          </p:cNvPr>
          <p:cNvPicPr>
            <a:picLocks noChangeAspect="1"/>
          </p:cNvPicPr>
          <p:nvPr/>
        </p:nvPicPr>
        <p:blipFill>
          <a:blip r:embed="rId3"/>
          <a:stretch>
            <a:fillRect/>
          </a:stretch>
        </p:blipFill>
        <p:spPr>
          <a:xfrm>
            <a:off x="5558205" y="1906789"/>
            <a:ext cx="3702447" cy="1754083"/>
          </a:xfrm>
          <a:prstGeom prst="rect">
            <a:avLst/>
          </a:prstGeom>
        </p:spPr>
      </p:pic>
      <p:pic>
        <p:nvPicPr>
          <p:cNvPr id="13" name="Picture 12">
            <a:extLst>
              <a:ext uri="{FF2B5EF4-FFF2-40B4-BE49-F238E27FC236}">
                <a16:creationId xmlns:a16="http://schemas.microsoft.com/office/drawing/2014/main" id="{3CDB04FD-43DC-1E2E-0D3F-623C001AAD05}"/>
              </a:ext>
            </a:extLst>
          </p:cNvPr>
          <p:cNvPicPr>
            <a:picLocks noChangeAspect="1"/>
          </p:cNvPicPr>
          <p:nvPr/>
        </p:nvPicPr>
        <p:blipFill>
          <a:blip r:embed="rId4"/>
          <a:stretch>
            <a:fillRect/>
          </a:stretch>
        </p:blipFill>
        <p:spPr>
          <a:xfrm>
            <a:off x="5372447" y="5080594"/>
            <a:ext cx="4375711" cy="1635674"/>
          </a:xfrm>
          <a:prstGeom prst="rect">
            <a:avLst/>
          </a:prstGeom>
        </p:spPr>
      </p:pic>
    </p:spTree>
    <p:extLst>
      <p:ext uri="{BB962C8B-B14F-4D97-AF65-F5344CB8AC3E}">
        <p14:creationId xmlns:p14="http://schemas.microsoft.com/office/powerpoint/2010/main" val="4111129342"/>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A1DF6C-B8B8-6382-D74D-60B69CE1FD23}"/>
              </a:ext>
            </a:extLst>
          </p:cNvPr>
          <p:cNvPicPr>
            <a:picLocks noChangeAspect="1"/>
          </p:cNvPicPr>
          <p:nvPr/>
        </p:nvPicPr>
        <p:blipFill>
          <a:blip r:embed="rId3"/>
          <a:stretch>
            <a:fillRect/>
          </a:stretch>
        </p:blipFill>
        <p:spPr>
          <a:xfrm>
            <a:off x="-1" y="0"/>
            <a:ext cx="12405275" cy="5829300"/>
          </a:xfrm>
          <a:prstGeom prst="rect">
            <a:avLst/>
          </a:prstGeom>
        </p:spPr>
      </p:pic>
      <p:sp>
        <p:nvSpPr>
          <p:cNvPr id="6" name="TextBox 5">
            <a:extLst>
              <a:ext uri="{FF2B5EF4-FFF2-40B4-BE49-F238E27FC236}">
                <a16:creationId xmlns:a16="http://schemas.microsoft.com/office/drawing/2014/main" id="{B31F7F4A-2181-AF1F-70FD-B5FFC01F50E7}"/>
              </a:ext>
            </a:extLst>
          </p:cNvPr>
          <p:cNvSpPr txBox="1"/>
          <p:nvPr/>
        </p:nvSpPr>
        <p:spPr>
          <a:xfrm>
            <a:off x="4718957" y="6368142"/>
            <a:ext cx="7425302" cy="307777"/>
          </a:xfrm>
          <a:prstGeom prst="rect">
            <a:avLst/>
          </a:prstGeom>
          <a:noFill/>
        </p:spPr>
        <p:txBody>
          <a:bodyPr wrap="none" lIns="0" tIns="0" rIns="0" bIns="0" rtlCol="0">
            <a:spAutoFit/>
          </a:bodyPr>
          <a:lstStyle/>
          <a:p>
            <a:pPr algn="l"/>
            <a:r>
              <a:rPr lang="en-US" sz="2000" dirty="0">
                <a:hlinkClick r:id="rId4"/>
              </a:rPr>
              <a:t>https://www.nytimes.com/interactive/projects/london2012/results</a:t>
            </a:r>
            <a:endParaRPr lang="en-US" sz="2000" dirty="0"/>
          </a:p>
        </p:txBody>
      </p:sp>
    </p:spTree>
    <p:extLst>
      <p:ext uri="{BB962C8B-B14F-4D97-AF65-F5344CB8AC3E}">
        <p14:creationId xmlns:p14="http://schemas.microsoft.com/office/powerpoint/2010/main" val="248321455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830997"/>
          </a:xfrm>
        </p:spPr>
        <p:txBody>
          <a:bodyPr/>
          <a:lstStyle/>
          <a:p>
            <a:pPr marL="0" indent="0" algn="ctr">
              <a:buNone/>
            </a:pPr>
            <a:r>
              <a:rPr lang="en-US" sz="5400" dirty="0"/>
              <a:t>https://aka.ms/mppc-yourthoughts</a:t>
            </a:r>
          </a:p>
        </p:txBody>
      </p:sp>
    </p:spTree>
    <p:extLst>
      <p:ext uri="{BB962C8B-B14F-4D97-AF65-F5344CB8AC3E}">
        <p14:creationId xmlns:p14="http://schemas.microsoft.com/office/powerpoint/2010/main" val="2337724613"/>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3" name="Add-in 2" title="Microsoft Power BI">
                <a:extLst>
                  <a:ext uri="{FF2B5EF4-FFF2-40B4-BE49-F238E27FC236}">
                    <a16:creationId xmlns:a16="http://schemas.microsoft.com/office/drawing/2014/main" id="{B40030B6-F851-E85A-14BD-EB0B4E8218E8}"/>
                  </a:ext>
                </a:extLst>
              </p:cNvPr>
              <p:cNvGraphicFramePr>
                <a:graphicFrameLocks noGrp="1"/>
              </p:cNvGraphicFramePr>
              <p:nvPr>
                <p:extLst>
                  <p:ext uri="{D42A27DB-BD31-4B8C-83A1-F6EECF244321}">
                    <p14:modId xmlns:p14="http://schemas.microsoft.com/office/powerpoint/2010/main" val="2525916281"/>
                  </p:ext>
                </p:extLst>
              </p:nvPr>
            </p:nvGraphicFramePr>
            <p:xfrm>
              <a:off x="0" y="-1"/>
              <a:ext cx="12434888" cy="6994525"/>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3" name="Add-in 2" title="Microsoft Power BI">
                <a:extLst>
                  <a:ext uri="{FF2B5EF4-FFF2-40B4-BE49-F238E27FC236}">
                    <a16:creationId xmlns:a16="http://schemas.microsoft.com/office/drawing/2014/main" id="{B40030B6-F851-E85A-14BD-EB0B4E8218E8}"/>
                  </a:ext>
                </a:extLst>
              </p:cNvPr>
              <p:cNvPicPr>
                <a:picLocks noGrp="1" noRot="1" noChangeAspect="1" noMove="1" noResize="1" noEditPoints="1" noAdjustHandles="1" noChangeArrowheads="1" noChangeShapeType="1"/>
              </p:cNvPicPr>
              <p:nvPr/>
            </p:nvPicPr>
            <p:blipFill>
              <a:blip r:embed="rId4"/>
              <a:stretch>
                <a:fillRect/>
              </a:stretch>
            </p:blipFill>
            <p:spPr>
              <a:xfrm>
                <a:off x="0" y="-1"/>
                <a:ext cx="12434888" cy="6994525"/>
              </a:xfrm>
              <a:prstGeom prst="rect">
                <a:avLst/>
              </a:prstGeom>
            </p:spPr>
          </p:pic>
        </mc:Fallback>
      </mc:AlternateContent>
    </p:spTree>
    <p:extLst>
      <p:ext uri="{BB962C8B-B14F-4D97-AF65-F5344CB8AC3E}">
        <p14:creationId xmlns:p14="http://schemas.microsoft.com/office/powerpoint/2010/main" val="4049856942"/>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989430"/>
            <a:ext cx="11149186" cy="923330"/>
          </a:xfrm>
        </p:spPr>
        <p:txBody>
          <a:bodyPr/>
          <a:lstStyle/>
          <a:p>
            <a:pPr marL="0" indent="0" algn="ctr">
              <a:buNone/>
            </a:pPr>
            <a:r>
              <a:rPr lang="en-US" sz="6000" dirty="0"/>
              <a:t>https://aka.ms/mppc-location</a:t>
            </a:r>
          </a:p>
        </p:txBody>
      </p:sp>
    </p:spTree>
    <p:extLst>
      <p:ext uri="{BB962C8B-B14F-4D97-AF65-F5344CB8AC3E}">
        <p14:creationId xmlns:p14="http://schemas.microsoft.com/office/powerpoint/2010/main" val="413153904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2" name="Add-in 1" title="Microsoft Power BI">
                <a:extLst>
                  <a:ext uri="{FF2B5EF4-FFF2-40B4-BE49-F238E27FC236}">
                    <a16:creationId xmlns:a16="http://schemas.microsoft.com/office/drawing/2014/main" id="{CC5FE54F-DE3D-668F-0224-FF56F98E1B55}"/>
                  </a:ext>
                </a:extLst>
              </p:cNvPr>
              <p:cNvGraphicFramePr>
                <a:graphicFrameLocks noGrp="1"/>
              </p:cNvGraphicFramePr>
              <p:nvPr>
                <p:extLst>
                  <p:ext uri="{D42A27DB-BD31-4B8C-83A1-F6EECF244321}">
                    <p14:modId xmlns:p14="http://schemas.microsoft.com/office/powerpoint/2010/main" val="1615900343"/>
                  </p:ext>
                </p:extLst>
              </p:nvPr>
            </p:nvGraphicFramePr>
            <p:xfrm>
              <a:off x="0" y="-1"/>
              <a:ext cx="12434888" cy="6994525"/>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2" name="Add-in 1" title="Microsoft Power BI">
                <a:extLst>
                  <a:ext uri="{FF2B5EF4-FFF2-40B4-BE49-F238E27FC236}">
                    <a16:creationId xmlns:a16="http://schemas.microsoft.com/office/drawing/2014/main" id="{CC5FE54F-DE3D-668F-0224-FF56F98E1B55}"/>
                  </a:ext>
                </a:extLst>
              </p:cNvPr>
              <p:cNvPicPr>
                <a:picLocks noGrp="1" noRot="1" noChangeAspect="1" noMove="1" noResize="1" noEditPoints="1" noAdjustHandles="1" noChangeArrowheads="1" noChangeShapeType="1"/>
              </p:cNvPicPr>
              <p:nvPr/>
            </p:nvPicPr>
            <p:blipFill>
              <a:blip r:embed="rId4"/>
              <a:stretch>
                <a:fillRect/>
              </a:stretch>
            </p:blipFill>
            <p:spPr>
              <a:xfrm>
                <a:off x="0" y="-1"/>
                <a:ext cx="12434888" cy="6994525"/>
              </a:xfrm>
              <a:prstGeom prst="rect">
                <a:avLst/>
              </a:prstGeom>
            </p:spPr>
          </p:pic>
        </mc:Fallback>
      </mc:AlternateContent>
    </p:spTree>
    <p:extLst>
      <p:ext uri="{BB962C8B-B14F-4D97-AF65-F5344CB8AC3E}">
        <p14:creationId xmlns:p14="http://schemas.microsoft.com/office/powerpoint/2010/main" val="122107237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113458113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882698997"/>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182048231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78"/>
                                        </p:tgtEl>
                                        <p:attrNameLst>
                                          <p:attrName>style.visibility</p:attrName>
                                        </p:attrNameLst>
                                      </p:cBhvr>
                                      <p:to>
                                        <p:strVal val="visible"/>
                                      </p:to>
                                    </p:set>
                                    <p:anim calcmode="lin" valueType="num">
                                      <p:cBhvr additive="base">
                                        <p:cTn id="7" dur="500" fill="hold"/>
                                        <p:tgtEl>
                                          <p:spTgt spid="562178"/>
                                        </p:tgtEl>
                                        <p:attrNameLst>
                                          <p:attrName>ppt_x</p:attrName>
                                        </p:attrNameLst>
                                      </p:cBhvr>
                                      <p:tavLst>
                                        <p:tav tm="0">
                                          <p:val>
                                            <p:strVal val="#ppt_x"/>
                                          </p:val>
                                        </p:tav>
                                        <p:tav tm="100000">
                                          <p:val>
                                            <p:strVal val="#ppt_x"/>
                                          </p:val>
                                        </p:tav>
                                      </p:tavLst>
                                    </p:anim>
                                    <p:anim calcmode="lin" valueType="num">
                                      <p:cBhvr additive="base">
                                        <p:cTn id="8"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Filter pane or Slic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290003"/>
          </a:xfrm>
        </p:spPr>
        <p:txBody>
          <a:bodyPr/>
          <a:lstStyle/>
          <a:p>
            <a:r>
              <a:rPr lang="en-US" dirty="0"/>
              <a:t>Filter pane</a:t>
            </a:r>
          </a:p>
          <a:p>
            <a:pPr lvl="1"/>
            <a:r>
              <a:rPr lang="en-US" dirty="0"/>
              <a:t>Advantages; same location, advanced filtering, better performance</a:t>
            </a:r>
          </a:p>
          <a:p>
            <a:pPr lvl="1"/>
            <a:r>
              <a:rPr lang="en-US" dirty="0"/>
              <a:t>Disadvantages; less design flexibility, more difficult to see which filters are applied</a:t>
            </a:r>
          </a:p>
          <a:p>
            <a:r>
              <a:rPr lang="en-US"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5267" y="2876668"/>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5647" y="4411339"/>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pPr marL="0" indent="0">
              <a:buNone/>
            </a:pPr>
            <a:endParaRPr lang="en-US" dirty="0"/>
          </a:p>
          <a:p>
            <a:pPr marL="0" indent="0">
              <a:buNone/>
            </a:pPr>
            <a:endParaRPr lang="en-US" b="1" dirty="0"/>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120244"/>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5 second rule</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758668" cy="307777"/>
          </a:xfrm>
          <a:prstGeom prst="rect">
            <a:avLst/>
          </a:prstGeom>
          <a:noFill/>
        </p:spPr>
        <p:txBody>
          <a:bodyPr wrap="none" lIns="0" tIns="0" rIns="0" bIns="0" rtlCol="0">
            <a:spAutoFit/>
          </a:bodyPr>
          <a:lstStyle/>
          <a:p>
            <a:pPr algn="l"/>
            <a:r>
              <a:rPr lang="en-US" sz="2000" dirty="0"/>
              <a:t>5 seconds is the general acceptance for a report page load. Anything over that and you lose your viewer</a:t>
            </a:r>
          </a:p>
        </p:txBody>
      </p:sp>
      <p:pic>
        <p:nvPicPr>
          <p:cNvPr id="1026" name="Picture 2" descr="See the source image">
            <a:extLst>
              <a:ext uri="{FF2B5EF4-FFF2-40B4-BE49-F238E27FC236}">
                <a16:creationId xmlns:a16="http://schemas.microsoft.com/office/drawing/2014/main" id="{02B7210E-5CFF-8F53-3D43-AB78C47A62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4092" y="2752007"/>
            <a:ext cx="5286703" cy="37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93925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Performance Analyzer is your friend</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239464" cy="738664"/>
          </a:xfrm>
          <a:prstGeom prst="rect">
            <a:avLst/>
          </a:prstGeom>
          <a:noFill/>
        </p:spPr>
        <p:txBody>
          <a:bodyPr wrap="square" lIns="0" tIns="0" rIns="0" bIns="0" rtlCol="0">
            <a:spAutoFit/>
          </a:bodyPr>
          <a:lstStyle/>
          <a:p>
            <a:pPr algn="l"/>
            <a:r>
              <a:rPr lang="en-US" sz="2400" dirty="0"/>
              <a:t>Validate with performance analyzer! If it doesn’t perform in Power BI Desktop, don’t expect it to in the service!</a:t>
            </a:r>
          </a:p>
        </p:txBody>
      </p:sp>
      <p:pic>
        <p:nvPicPr>
          <p:cNvPr id="4" name="Picture 3">
            <a:extLst>
              <a:ext uri="{FF2B5EF4-FFF2-40B4-BE49-F238E27FC236}">
                <a16:creationId xmlns:a16="http://schemas.microsoft.com/office/drawing/2014/main" id="{C1DFDE85-F824-E564-5CA0-990926C83524}"/>
              </a:ext>
            </a:extLst>
          </p:cNvPr>
          <p:cNvPicPr>
            <a:picLocks noChangeAspect="1"/>
          </p:cNvPicPr>
          <p:nvPr/>
        </p:nvPicPr>
        <p:blipFill>
          <a:blip r:embed="rId2"/>
          <a:stretch>
            <a:fillRect/>
          </a:stretch>
        </p:blipFill>
        <p:spPr>
          <a:xfrm>
            <a:off x="3831977" y="2601442"/>
            <a:ext cx="4770933" cy="3987137"/>
          </a:xfrm>
          <a:prstGeom prst="rect">
            <a:avLst/>
          </a:prstGeom>
        </p:spPr>
      </p:pic>
      <p:sp>
        <p:nvSpPr>
          <p:cNvPr id="5" name="Rectangle 4">
            <a:extLst>
              <a:ext uri="{FF2B5EF4-FFF2-40B4-BE49-F238E27FC236}">
                <a16:creationId xmlns:a16="http://schemas.microsoft.com/office/drawing/2014/main" id="{CCABC2D9-B1ED-F28B-0335-AECEB4B724D8}"/>
              </a:ext>
            </a:extLst>
          </p:cNvPr>
          <p:cNvSpPr/>
          <p:nvPr/>
        </p:nvSpPr>
        <p:spPr bwMode="auto">
          <a:xfrm>
            <a:off x="7943850" y="4577199"/>
            <a:ext cx="571500" cy="185477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316738"/>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51795"/>
          </a:xfrm>
        </p:spPr>
        <p:txBody>
          <a:bodyPr/>
          <a:lstStyle/>
          <a:p>
            <a:r>
              <a:rPr lang="en-US" dirty="0"/>
              <a:t>Testing </a:t>
            </a:r>
          </a:p>
          <a:p>
            <a:pPr lvl="1"/>
            <a:r>
              <a:rPr lang="en-US" dirty="0"/>
              <a:t>User acceptance test, test on different interfaces (Service, mobile app, embedded), Performance!</a:t>
            </a:r>
          </a:p>
          <a:p>
            <a:r>
              <a:rPr lang="en-US" dirty="0"/>
              <a:t>Prepare for publication</a:t>
            </a:r>
          </a:p>
          <a:p>
            <a:pPr lvl="1"/>
            <a:r>
              <a:rPr lang="en-US" dirty="0"/>
              <a:t>Set intended initial experience, e.g., define first page, reset filters and slicers, visual drill state, sort orders, and button state</a:t>
            </a:r>
          </a:p>
          <a:p>
            <a:r>
              <a:rPr lang="en-US" dirty="0"/>
              <a:t>Provide support </a:t>
            </a:r>
          </a:p>
          <a:p>
            <a:pPr lvl="1"/>
            <a:r>
              <a:rPr lang="en-US" dirty="0"/>
              <a:t>Training, built-in assistance, documentation</a:t>
            </a:r>
          </a:p>
          <a:p>
            <a:r>
              <a:rPr lang="en-US" dirty="0"/>
              <a:t>Manage change </a:t>
            </a:r>
          </a:p>
          <a:p>
            <a:pPr lvl="1"/>
            <a:r>
              <a:rPr lang="en-US" dirty="0"/>
              <a:t>Often, it's better to publish a new report that includes many updates than release smaller incremental changes, consider using Deployment pipelines</a:t>
            </a:r>
          </a:p>
          <a:p>
            <a:pPr marL="0" indent="0">
              <a:buNone/>
            </a:pPr>
            <a:endParaRPr lang="en-US" dirty="0"/>
          </a:p>
        </p:txBody>
      </p:sp>
    </p:spTree>
    <p:extLst>
      <p:ext uri="{BB962C8B-B14F-4D97-AF65-F5344CB8AC3E}">
        <p14:creationId xmlns:p14="http://schemas.microsoft.com/office/powerpoint/2010/main" val="3948095550"/>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Want more?</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r>
              <a:rPr lang="en-US" sz="3200" dirty="0"/>
              <a:t>. </a:t>
            </a:r>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5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6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6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1492071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C46E5D-9B30-2D64-58BE-D8C91B06BAB2}"/>
              </a:ext>
            </a:extLst>
          </p:cNvPr>
          <p:cNvPicPr>
            <a:picLocks noChangeAspect="1"/>
          </p:cNvPicPr>
          <p:nvPr/>
        </p:nvPicPr>
        <p:blipFill rotWithShape="1">
          <a:blip r:embed="rId4"/>
          <a:srcRect l="15447" t="49743" r="11383"/>
          <a:stretch/>
        </p:blipFill>
        <p:spPr>
          <a:xfrm>
            <a:off x="-12731" y="-47772"/>
            <a:ext cx="12519638" cy="7042296"/>
          </a:xfrm>
          <a:prstGeom prst="rect">
            <a:avLst/>
          </a:prstGeom>
        </p:spPr>
      </p:pic>
      <p:sp>
        <p:nvSpPr>
          <p:cNvPr id="2" name="Title 1">
            <a:extLst>
              <a:ext uri="{FF2B5EF4-FFF2-40B4-BE49-F238E27FC236}">
                <a16:creationId xmlns:a16="http://schemas.microsoft.com/office/drawing/2014/main" id="{F5541AC8-D361-78EB-67B1-99455110EF14}"/>
              </a:ext>
            </a:extLst>
          </p:cNvPr>
          <p:cNvSpPr>
            <a:spLocks noGrp="1"/>
          </p:cNvSpPr>
          <p:nvPr>
            <p:ph type="title"/>
          </p:nvPr>
        </p:nvSpPr>
        <p:spPr>
          <a:xfrm>
            <a:off x="725447" y="427444"/>
            <a:ext cx="11191240" cy="585994"/>
          </a:xfrm>
        </p:spPr>
        <p:txBody>
          <a:bodyPr/>
          <a:lstStyle/>
          <a:p>
            <a:r>
              <a:rPr lang="en-US" u="sng">
                <a:solidFill>
                  <a:srgbClr val="882483"/>
                </a:solidFill>
              </a:rPr>
              <a:t>Session Feedback Surveys</a:t>
            </a:r>
            <a:endParaRPr lang="en-US">
              <a:solidFill>
                <a:srgbClr val="882483"/>
              </a:solidFill>
            </a:endParaRPr>
          </a:p>
        </p:txBody>
      </p:sp>
      <p:sp>
        <p:nvSpPr>
          <p:cNvPr id="3" name="Text Placeholder 2">
            <a:extLst>
              <a:ext uri="{FF2B5EF4-FFF2-40B4-BE49-F238E27FC236}">
                <a16:creationId xmlns:a16="http://schemas.microsoft.com/office/drawing/2014/main" id="{46403AEF-0FC4-1DC9-2277-CD8177962343}"/>
              </a:ext>
            </a:extLst>
          </p:cNvPr>
          <p:cNvSpPr>
            <a:spLocks noGrp="1"/>
          </p:cNvSpPr>
          <p:nvPr>
            <p:ph type="body" idx="1"/>
          </p:nvPr>
        </p:nvSpPr>
        <p:spPr>
          <a:xfrm>
            <a:off x="3626879" y="1321188"/>
            <a:ext cx="8393430" cy="5001369"/>
          </a:xfrm>
        </p:spPr>
        <p:txBody>
          <a:bodyPr/>
          <a:lstStyle/>
          <a:p>
            <a:pPr marL="0" indent="0">
              <a:buNone/>
            </a:pPr>
            <a:r>
              <a:rPr lang="en-US" sz="2108" b="0" i="1"/>
              <a:t>In the pursuit of making next year’s Microsoft Power Platform Conference even better, we really want to hear your feedback about this session.</a:t>
            </a:r>
            <a:endParaRPr lang="en-US" sz="2108" b="0"/>
          </a:p>
          <a:p>
            <a:pPr marL="0" indent="0">
              <a:buNone/>
            </a:pPr>
            <a:endParaRPr lang="en-US" sz="2176" b="0"/>
          </a:p>
          <a:p>
            <a:pPr marL="0" indent="0">
              <a:buNone/>
            </a:pPr>
            <a:r>
              <a:rPr lang="en-US" sz="2176" i="1"/>
              <a:t>Here’s How -</a:t>
            </a:r>
            <a:endParaRPr lang="en-US" sz="2176"/>
          </a:p>
          <a:p>
            <a:r>
              <a:rPr lang="en-US" sz="2176" b="0" i="1"/>
              <a:t>Simply go to the Whova App on your smartphone</a:t>
            </a:r>
          </a:p>
          <a:p>
            <a:r>
              <a:rPr lang="en-US" sz="2176" b="0" i="1"/>
              <a:t>Go to the Microsoft Power Platform Conference event</a:t>
            </a:r>
            <a:endParaRPr lang="en-US" sz="2176" b="0"/>
          </a:p>
          <a:p>
            <a:r>
              <a:rPr lang="en-US" sz="2176" b="0" i="1"/>
              <a:t>Scroll down on the homepage to ‘Additional Resources’ and click ‘Surveys’.</a:t>
            </a:r>
            <a:endParaRPr lang="en-US" sz="2176" b="0"/>
          </a:p>
          <a:p>
            <a:r>
              <a:rPr lang="en-US" sz="2176" b="0" i="1"/>
              <a:t>Click ‘Session Feedback’.</a:t>
            </a:r>
            <a:endParaRPr lang="en-US" sz="2176" b="0"/>
          </a:p>
          <a:p>
            <a:r>
              <a:rPr lang="en-US" sz="2176" b="0" i="1"/>
              <a:t>Scroll down to click on this session title.</a:t>
            </a:r>
            <a:endParaRPr lang="en-US" sz="2176" b="0"/>
          </a:p>
          <a:p>
            <a:r>
              <a:rPr lang="en-US" sz="2176" b="0" i="1"/>
              <a:t>Complete the session feedback survey.</a:t>
            </a:r>
            <a:endParaRPr lang="en-US" sz="2176" b="0"/>
          </a:p>
          <a:p>
            <a:r>
              <a:rPr lang="en-US" sz="2176" b="0" i="1"/>
              <a:t>Finally, click ‘Submit’</a:t>
            </a:r>
            <a:endParaRPr lang="en-US" sz="2176" b="0"/>
          </a:p>
          <a:p>
            <a:endParaRPr lang="en-US" sz="2176"/>
          </a:p>
        </p:txBody>
      </p:sp>
      <p:pic>
        <p:nvPicPr>
          <p:cNvPr id="4" name="Final Whova App Screen Capture">
            <a:hlinkClick r:id="" action="ppaction://media"/>
            <a:extLst>
              <a:ext uri="{FF2B5EF4-FFF2-40B4-BE49-F238E27FC236}">
                <a16:creationId xmlns:a16="http://schemas.microsoft.com/office/drawing/2014/main" id="{0F270B6D-EA55-7BAD-D42B-DF459CA1A8C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25447" y="558377"/>
            <a:ext cx="2697273" cy="5829995"/>
          </a:xfrm>
          <a:prstGeom prst="rect">
            <a:avLst/>
          </a:prstGeom>
        </p:spPr>
      </p:pic>
    </p:spTree>
    <p:extLst>
      <p:ext uri="{BB962C8B-B14F-4D97-AF65-F5344CB8AC3E}">
        <p14:creationId xmlns:p14="http://schemas.microsoft.com/office/powerpoint/2010/main" val="358689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1673778324"/>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IN" sz="1400" dirty="0">
                          <a:solidFill>
                            <a:schemeClr val="tx1"/>
                          </a:solidFill>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68.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169.png"/></Relationships>
</file>

<file path=ppt/webextensions/webextension1.xml><?xml version="1.0" encoding="utf-8"?>
<we:webextension xmlns:we="http://schemas.microsoft.com/office/webextensions/webextension/2010/11" id="{4478DA8D-E14E-4FBE-8A13-5A60FEDC220D}">
  <we:reference id="wa200003233" version="2.0.0.3" store="en-US" storeType="OMEX"/>
  <we:alternateReferences>
    <we:reference id="WA200003233" version="2.0.0.3" store="WA200003233" storeType="OMEX"/>
  </we:alternateReferences>
  <we:properties>
    <we:property name="backgroundColor" value="&quot;rgb(255,255,255)&quot;"/>
    <we:property name="bookmark" value="&quot;H4sIAAAAAAAAA8VTwU7jMBD9FeRztGqgK3Z7C6FcWKBqERdUoakzDQbXtsZOIYvy74yddJfCHjggbS7xvBnPPL9nv4hKeaehvYQNiok4sfZxA/R4kItMmAG7ujq/KObnd5fFxZRh64KyxovJiwhANYYb5RvQsQODt8tMgNYzqGO0Bu0xEw7JWwNa/ca+mFOBGuwygc9OW4LYchEgYGy75XKOeXb+7YgnggxqiwuUoUfn6CyFXZwJ368Spf1cbJYGltYEUIYbR6waj/D4xzj/mY8OcVWN82MpI75WOgwlq3b67IjPw6dsXdShqLZgJFYikSb0fphQ1DVhDbuB071kaXWz+Qe+sA1JnOM6pUxQoeUZTqG8BwqiY2lmZFm4hBfGPyEl9Kwxw9m+x/DePpWELFwlJqMu+8O2ZKi2pCToD4S/nNM+iSUjXplaD2b/deG658Ydy9SRL9Pqga2KivMmSxXSSZtEP1W08/Awe8fzPwreLXfXkYsf3ty7Qe+e/BdzWHbpe6uW2CA/vbiwTfAOJM7AYBru+g4KUx07D6aKxqQ1xf8vxbe89+UGdBMtSQ9VpCFslVpp/OyGgd4rs73uDEoEAAA=&quot;"/>
    <we:property name="creatorSessionId" value="&quot;f433d3a9-59f5-4531-9343-7285105f2742&quot;"/>
    <we:property name="creatorTenantId" value="&quot;72f988bf-86f1-41af-91ab-2d7cd011db47&quot;"/>
    <we:property name="creatorUserId" value="&quot;10033FFF801C2909&quot;"/>
    <we:property name="datasetId" value="&quot;e5a66aeb-c3c2-4aee-9ab6-64e776588ac7&quot;"/>
    <we:property name="embedUrl" value="&quot;/reportEmbed?reportId=296cdfe0-47df-4d96-a92e-810943699a92&amp;config=eyJjbHVzdGVyVXJsIjoiaHR0cHM6Ly9ERi1NU0lULVNDVVMtcmVkaXJlY3QuYW5hbHlzaXMud2luZG93cy5uZXQiLCJlbWJlZEZlYXR1cmVzIjp7Im1vZGVybkVtYmVkIjp0cnVlLCJ1c2FnZU1ldHJpY3NWTmV4dCI6dHJ1ZSwic2tpcFF1ZXJ5RGF0YVNhYVNFbWJlZCI6dHJ1ZSwic2tpcFF1ZXJ5RGF0YVBhYVNFbWJlZCI6dHJ1ZSwic2tpcFF1ZXJ5RGF0YUV4cG9ydFRvIjp0cnVlfX0%3D&amp;disableSensitivityBanner=true&quot;"/>
    <we:property name="initialStateBookmark" value="&quot;H4sIAAAAAAAAA8VTwU7jMBD9FeRztGqgK3Z7C6FcWKBqERdUoakzDQbXtsZOIYvy74yddJfCHjggbS7xvBnPPL9nv4hKeaehvYQNiok4sfZxA/R4kItMmAG7ujq/KObnd5fFxZRh64KyxovJiwhANYYb5RvQsQODt8tMgNYzqGO0Bu0xEw7JWwNa/ca+mFOBGuwygc9OW4LYchEgYGy75XKOeXb+7YgnggxqiwuUoUfn6CyFXZwJ368Spf1cbJYGltYEUIYbR6waj/D4xzj/mY8OcVWN82MpI75WOgwlq3b67IjPw6dsXdShqLZgJFYikSb0fphQ1DVhDbuB071kaXWz+Qe+sA1JnOM6pUxQoeUZTqG8BwqiY2lmZFm4hBfGPyEl9Kwxw9m+x/DePpWELFwlJqMu+8O2ZKi2pCToD4S/nNM+iSUjXplaD2b/deG658Ydy9SRL9Pqga2KivMmSxXSSZtEP1W08/Awe8fzPwreLXfXkYsf3ty7Qe+e/BdzWHbpe6uW2CA/vbiwTfAOJM7AYBru+g4KUx07D6aKxqQ1xf8vxbe89+UGdBMtSQ9VpCFslVpp/OyGgd4rs73uDEoEAAA=&quot;"/>
    <we:property name="isFiltersActionButtonVisible" value="false"/>
    <we:property name="isFooterCollapsed" value="true"/>
    <we:property name="pageDisplayName" value="&quot;Pie Chart&quot;"/>
    <we:property name="pageName" value="&quot;ReportSection&quot;"/>
    <we:property name="reportEmbeddedTime" value="&quot;2022-09-18T17:10:28.781Z&quot;"/>
    <we:property name="reportName" value="&quot;Survey Questions&quot;"/>
    <we:property name="reportState" value="&quot;CONNECTED&quot;"/>
    <we:property name="reportUrl" value="&quot;/groups/me/reports/296cdfe0-47df-4d96-a92e-810943699a92/ReportSection?bookmarkGuid=3f430e51-5ed2-4d86-a47c-9fa59b8800e6&amp;bookmarkUsage=1&amp;ctid=72f988bf-86f1-41af-91ab-2d7cd011db47&amp;fromEntryPoint=export&quot;"/>
    <we:property name="sensitivityLabel" value="&quot;Public&quot;"/>
    <we:property name="sensitivityLabelTooltip" value="&quot;Business data specifically prepared and approved for public consumption. Data is not encrypted, and cannot be tracked or revoked. &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93532495-8108-4F54-BBE1-ED1695101F49}">
  <we:reference id="wa200003233" version="2.0.0.3" store="en-US" storeType="OMEX"/>
  <we:alternateReferences>
    <we:reference id="WA200003233" version="2.0.0.3" store="WA200003233" storeType="OMEX"/>
  </we:alternateReferences>
  <we:properties>
    <we:property name="backgroundColor" value="&quot;rgb(255,255,255)&quot;"/>
    <we:property name="bookmark" value="&quot;H4sIAAAAAAAAA+1WsW7bMBD9lYKzUNiWLUveHNdd0iSGXWQpjOJEnRQmNElQlBPX8L/3SClN4wxpgSBZPIl8PN699/gG7VkhaiNhdwkbZBN2pvXdBuzdpz6LmOqwq6vzi+ny/Ofl9GJOsDZOaFWzyZ45sBW6a1E3IH0HAn+sIwZSLqDyuxJkjREzaGutQIpf2BbTkbMNHiKGD0ZqC77lyoFD33ZL5bSn2f3PMU0E7sQWV8hdiy7RaOu6fZwNBqOMj8phCmWaZnE5RLpTt6eB5uv1fmggNtPKgVBEwGNZliT5MM3yGDIYQZ4g73m8FNJ1Jflu/mAs6SY3dsb7NSMVlbaCg2RBn8W6lbNnMy2bTVjNn+Er3ViOSyzDkXLC7aiT1DwYww5k1MJqsjHgU1Xfow3ojb6fWaSJBZv0DtEfEtNiC4oTesxgWlUWq7btCxpvTu9ro7pHG71kuyakFqqSXSieXuF7K8IInN2AdT50+S09n3ecLmlboD3bBdO/CPuYi0F0RPsDtR7Wj7Gl4tu/stiloyX/xhzWB3/SH8Zj7GHMS4j5uESexHgK7buFNgd7Cu1/h7YYQpqkkMbjNC5zSJLBKD+F9t1CuwFznNcPCULIwhMNtkH6wfAL3bjaAMcFKAzDTdtBYKgj50EVXmxYW//9Jig5rdZrkI2XGX5HWBhC8kUu8V8vdPR+AyTXMHUwCQAA&quot;"/>
    <we:property name="creatorSessionId" value="&quot;e5b225b0-fedd-4d04-8cae-c214ef96bc6c&quot;"/>
    <we:property name="creatorTenantId" value="&quot;72f988bf-86f1-41af-91ab-2d7cd011db47&quot;"/>
    <we:property name="creatorUserId" value="&quot;10033FFF801C2909&quot;"/>
    <we:property name="datasetId" value="&quot;e5a66aeb-c3c2-4aee-9ab6-64e776588ac7&quot;"/>
    <we:property name="embedUrl" value="&quot;/reportEmbed?reportId=296cdfe0-47df-4d96-a92e-810943699a92&amp;config=eyJjbHVzdGVyVXJsIjoiaHR0cHM6Ly9ERi1NU0lULVNDVVMtcmVkaXJlY3QuYW5hbHlzaXMud2luZG93cy5uZXQiLCJlbWJlZEZlYXR1cmVzIjp7Im1vZGVybkVtYmVkIjp0cnVlLCJ1c2FnZU1ldHJpY3NWTmV4dCI6dHJ1ZSwic2tpcFF1ZXJ5RGF0YVNhYVNFbWJlZCI6dHJ1ZSwic2tpcFF1ZXJ5RGF0YVBhYVNFbWJlZCI6dHJ1ZSwic2tpcFF1ZXJ5RGF0YUV4cG9ydFRvIjp0cnVlfX0%3D&amp;disableSensitivityBanner=true&quot;"/>
    <we:property name="initialStateBookmark" value="&quot;H4sIAAAAAAAAA+1WsW7bMBD9lYKzUNiWLUveHNdd0iSGXWQpjOJEnRQmNElQlBPX8L/3SClN4wxpgSBZPIl8PN699/gG7VkhaiNhdwkbZBN2pvXdBuzdpz6LmOqwq6vzi+ny/Ofl9GJOsDZOaFWzyZ45sBW6a1E3IH0HAn+sIwZSLqDyuxJkjREzaGutQIpf2BbTkbMNHiKGD0ZqC77lyoFD33ZL5bSn2f3PMU0E7sQWV8hdiy7RaOu6fZwNBqOMj8phCmWaZnE5RLpTt6eB5uv1fmggNtPKgVBEwGNZliT5MM3yGDIYQZ4g73m8FNJ1Jflu/mAs6SY3dsb7NSMVlbaCg2RBn8W6lbNnMy2bTVjNn+Er3ViOSyzDkXLC7aiT1DwYww5k1MJqsjHgU1Xfow3ojb6fWaSJBZv0DtEfEtNiC4oTesxgWlUWq7btCxpvTu9ro7pHG71kuyakFqqSXSieXuF7K8IInN2AdT50+S09n3ecLmlboD3bBdO/CPuYi0F0RPsDtR7Wj7Gl4tu/stiloyX/xhzWB3/SH8Zj7GHMS4j5uESexHgK7buFNgd7Cu1/h7YYQpqkkMbjNC5zSJLBKD+F9t1CuwFznNcPCULIwhMNtkH6wfAL3bjaAMcFKAzDTdtBYKgj50EVXmxYW//9Jig5rdZrkI2XGX5HWBhC8kUu8V8vdPR+AyTXMHUwCQAA&quot;"/>
    <we:property name="isFiltersActionButtonVisible" value="false"/>
    <we:property name="isFooterCollapsed" value="true"/>
    <we:property name="pageDisplayName" value="&quot;Location&quot;"/>
    <we:property name="pageName" value="&quot;ReportSection392259c5f48af8893f4e&quot;"/>
    <we:property name="reportEmbeddedTime" value="&quot;2022-09-18T17:11:03.917Z&quot;"/>
    <we:property name="reportName" value="&quot;Survey Questions&quot;"/>
    <we:property name="reportState" value="&quot;CONNECTED&quot;"/>
    <we:property name="reportUrl" value="&quot;/groups/me/reports/296cdfe0-47df-4d96-a92e-810943699a92/ReportSection392259c5f48af8893f4e?bookmarkGuid=fe4da968-4a42-45ed-8f82-be9568fb75fc&amp;bookmarkUsage=1&amp;ctid=72f988bf-86f1-41af-91ab-2d7cd011db47&amp;fromEntryPoint=export&quot;"/>
    <we:property name="sensitivityLabel" value="&quot;Public&quot;"/>
    <we:property name="sensitivityLabelTooltip" value="&quot;Business data specifically prepared and approved for public consumption. Data is not encrypted, and cannot be tracked or revoked. &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807E26-D60A-4BC0-9B6B-FF21DEC2B07A}">
  <ds:schemaRefs>
    <ds:schemaRef ds:uri="http://schemas.microsoft.com/sharepoint/v3/contenttype/forms"/>
  </ds:schemaRefs>
</ds:datastoreItem>
</file>

<file path=customXml/itemProps3.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55</TotalTime>
  <Words>13680</Words>
  <Application>Microsoft Office PowerPoint</Application>
  <PresentationFormat>Custom</PresentationFormat>
  <Paragraphs>2925</Paragraphs>
  <Slides>203</Slides>
  <Notes>78</Notes>
  <HiddenSlides>25</HiddenSlides>
  <MMClips>5</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203</vt:i4>
      </vt:variant>
    </vt:vector>
  </HeadingPairs>
  <TitlesOfParts>
    <vt:vector size="236"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Power Platform Conference Session resources</vt:lpstr>
      <vt:lpstr>THE DAY AFTER *DASHBOARD  IN A DAY * Technically it was a report</vt:lpstr>
      <vt:lpstr>PowerPoint Presentation</vt:lpstr>
      <vt:lpstr>Session Feedback Surveys</vt:lpstr>
      <vt:lpstr>Agenda (times are approximate and will be fluid with the class)</vt:lpstr>
      <vt:lpstr>A retrospective…</vt:lpstr>
      <vt:lpstr>The Evolution of BI</vt:lpstr>
      <vt:lpstr>Power BI  monthly active usage</vt:lpstr>
      <vt:lpstr>PowerPoint Presentation</vt:lpstr>
      <vt:lpstr>PowerPoint Presentation</vt:lpstr>
      <vt:lpstr>PowerPoint Presentation</vt:lpstr>
      <vt:lpstr>PowerPoint Presentation</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Visual Encoding</vt:lpstr>
      <vt:lpstr>PowerPoint Presentation</vt:lpstr>
      <vt:lpstr>We know it when we see it…</vt:lpstr>
      <vt:lpstr>We know it when we see it…</vt:lpstr>
      <vt:lpstr>We know it when we see it…</vt:lpstr>
      <vt:lpstr>PowerPoint Presentation</vt:lpstr>
      <vt:lpstr>PowerPoint Presentation</vt:lpstr>
      <vt:lpstr>PowerPoint Presentation</vt:lpstr>
      <vt:lpstr>PowerPoint Presentation</vt:lpstr>
      <vt:lpstr>Visual Selection</vt:lpstr>
      <vt:lpstr>PowerPoint Presentation</vt:lpstr>
      <vt:lpstr>PowerPoint Presentation</vt:lpstr>
      <vt:lpstr>Report Layout</vt:lpstr>
      <vt:lpstr>Report Layout</vt:lpstr>
      <vt:lpstr>Report Layout</vt:lpstr>
      <vt:lpstr>Report Layout</vt:lpstr>
      <vt:lpstr>7 Steps In Report Building</vt:lpstr>
      <vt:lpstr>Filtering</vt:lpstr>
      <vt:lpstr>Advanced Filtering Techniques</vt:lpstr>
      <vt:lpstr>Filter pane or Slic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Report Design Tools</vt:lpstr>
      <vt:lpstr>Report Design Tools</vt:lpstr>
      <vt:lpstr>Report Design Tools</vt:lpstr>
      <vt:lpstr>Report Design Tools</vt:lpstr>
      <vt:lpstr>Report Design Tools</vt:lpstr>
      <vt:lpstr>Mobile Experience</vt:lpstr>
      <vt:lpstr>Design Reports For Accessibility</vt:lpstr>
      <vt:lpstr>5 second rule</vt:lpstr>
      <vt:lpstr>Performance Analyzer is your friend</vt:lpstr>
      <vt:lpstr>Before You Publish The Report</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 Surveys</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dam Saxton</cp:lastModifiedBy>
  <cp:revision>11</cp:revision>
  <dcterms:modified xsi:type="dcterms:W3CDTF">2022-09-18T17:1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